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7.xml" ContentType="application/vnd.openxmlformats-officedocument.theme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  <p:sldMasterId id="2147483734" r:id="rId2"/>
    <p:sldMasterId id="2147483753" r:id="rId3"/>
    <p:sldMasterId id="2147483772" r:id="rId4"/>
    <p:sldMasterId id="2147483791" r:id="rId5"/>
    <p:sldMasterId id="2147483810" r:id="rId6"/>
  </p:sldMasterIdLst>
  <p:notesMasterIdLst>
    <p:notesMasterId r:id="rId17"/>
  </p:notesMasterIdLst>
  <p:sldIdLst>
    <p:sldId id="389" r:id="rId7"/>
    <p:sldId id="400" r:id="rId8"/>
    <p:sldId id="420" r:id="rId9"/>
    <p:sldId id="421" r:id="rId10"/>
    <p:sldId id="422" r:id="rId11"/>
    <p:sldId id="423" r:id="rId12"/>
    <p:sldId id="424" r:id="rId13"/>
    <p:sldId id="427" r:id="rId14"/>
    <p:sldId id="413" r:id="rId15"/>
    <p:sldId id="419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1120">
          <p15:clr>
            <a:srgbClr val="A4A3A4"/>
          </p15:clr>
        </p15:guide>
        <p15:guide id="3" orient="horz" pos="121">
          <p15:clr>
            <a:srgbClr val="A4A3A4"/>
          </p15:clr>
        </p15:guide>
        <p15:guide id="4" orient="horz" pos="4195">
          <p15:clr>
            <a:srgbClr val="A4A3A4"/>
          </p15:clr>
        </p15:guide>
        <p15:guide id="5" orient="horz" pos="367">
          <p15:clr>
            <a:srgbClr val="A4A3A4"/>
          </p15:clr>
        </p15:guide>
        <p15:guide id="6" orient="horz" pos="3879">
          <p15:clr>
            <a:srgbClr val="A4A3A4"/>
          </p15:clr>
        </p15:guide>
        <p15:guide id="7" orient="horz" pos="3535">
          <p15:clr>
            <a:srgbClr val="A4A3A4"/>
          </p15:clr>
        </p15:guide>
        <p15:guide id="8" pos="3841">
          <p15:clr>
            <a:srgbClr val="A4A3A4"/>
          </p15:clr>
        </p15:guide>
        <p15:guide id="9" pos="381">
          <p15:clr>
            <a:srgbClr val="A4A3A4"/>
          </p15:clr>
        </p15:guide>
        <p15:guide id="10" pos="7307">
          <p15:clr>
            <a:srgbClr val="A4A3A4"/>
          </p15:clr>
        </p15:guide>
        <p15:guide id="11" orient="horz" pos="3525">
          <p15:clr>
            <a:srgbClr val="A4A3A4"/>
          </p15:clr>
        </p15:guide>
        <p15:guide id="12" orient="horz" pos="545">
          <p15:clr>
            <a:srgbClr val="A4A3A4"/>
          </p15:clr>
        </p15:guide>
        <p15:guide id="13" orient="horz" pos="3730">
          <p15:clr>
            <a:srgbClr val="A4A3A4"/>
          </p15:clr>
        </p15:guide>
        <p15:guide id="14" orient="horz" pos="1270">
          <p15:clr>
            <a:srgbClr val="A4A3A4"/>
          </p15:clr>
        </p15:guide>
        <p15:guide id="15" orient="horz" pos="1062">
          <p15:clr>
            <a:srgbClr val="A4A3A4"/>
          </p15:clr>
        </p15:guide>
        <p15:guide id="16" orient="horz" pos="4001">
          <p15:clr>
            <a:srgbClr val="A4A3A4"/>
          </p15:clr>
        </p15:guide>
        <p15:guide id="17" pos="2880">
          <p15:clr>
            <a:srgbClr val="A4A3A4"/>
          </p15:clr>
        </p15:guide>
        <p15:guide id="18" pos="286">
          <p15:clr>
            <a:srgbClr val="A4A3A4"/>
          </p15:clr>
        </p15:guide>
        <p15:guide id="19" pos="54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hony Batt" initials="TB" lastIdx="2" clrIdx="0"/>
  <p:cmAuthor id="1" name="Szabó Szeréna" initials="SS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FF9900"/>
    <a:srgbClr val="B6C628"/>
    <a:srgbClr val="00ABAA"/>
    <a:srgbClr val="009EB5"/>
    <a:srgbClr val="006AB4"/>
    <a:srgbClr val="000000"/>
    <a:srgbClr val="FFEBBA"/>
    <a:srgbClr val="FFD103"/>
    <a:srgbClr val="FFD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7" autoAdjust="0"/>
    <p:restoredTop sz="87816" autoAdjust="0"/>
  </p:normalViewPr>
  <p:slideViewPr>
    <p:cSldViewPr snapToGrid="0" snapToObjects="1">
      <p:cViewPr>
        <p:scale>
          <a:sx n="68" d="100"/>
          <a:sy n="68" d="100"/>
        </p:scale>
        <p:origin x="-306" y="-24"/>
      </p:cViewPr>
      <p:guideLst>
        <p:guide orient="horz" pos="2160"/>
        <p:guide orient="horz" pos="1120"/>
        <p:guide orient="horz" pos="121"/>
        <p:guide orient="horz" pos="4195"/>
        <p:guide orient="horz" pos="367"/>
        <p:guide orient="horz" pos="3879"/>
        <p:guide orient="horz" pos="3535"/>
        <p:guide orient="horz" pos="3525"/>
        <p:guide orient="horz" pos="545"/>
        <p:guide orient="horz" pos="3730"/>
        <p:guide orient="horz" pos="1270"/>
        <p:guide orient="horz" pos="1062"/>
        <p:guide orient="horz" pos="4001"/>
        <p:guide pos="3841"/>
        <p:guide pos="381"/>
        <p:guide pos="7307"/>
        <p:guide pos="2880"/>
        <p:guide pos="286"/>
        <p:guide pos="54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552FD-7F0F-498C-B24B-F3972759E4AD}" type="datetimeFigureOut">
              <a:rPr lang="en-GB" smtClean="0"/>
              <a:pPr/>
              <a:t>04/10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2E61C6-0966-44A9-B9F6-E0BE7A5B3AD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820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46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2E61C6-0966-44A9-B9F6-E0BE7A5B3ADE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88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5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3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33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1.bin"/><Relationship Id="rId4" Type="http://schemas.openxmlformats.org/officeDocument/2006/relationships/oleObject" Target="../embeddings/oleObject336.bin"/><Relationship Id="rId9" Type="http://schemas.openxmlformats.org/officeDocument/2006/relationships/oleObject" Target="../embeddings/oleObject340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4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34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7.bin"/><Relationship Id="rId4" Type="http://schemas.openxmlformats.org/officeDocument/2006/relationships/oleObject" Target="../embeddings/oleObject342.bin"/><Relationship Id="rId9" Type="http://schemas.openxmlformats.org/officeDocument/2006/relationships/oleObject" Target="../embeddings/oleObject346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34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53.bin"/><Relationship Id="rId4" Type="http://schemas.openxmlformats.org/officeDocument/2006/relationships/oleObject" Target="../embeddings/oleObject348.bin"/><Relationship Id="rId9" Type="http://schemas.openxmlformats.org/officeDocument/2006/relationships/oleObject" Target="../embeddings/oleObject35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3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6.bin"/><Relationship Id="rId4" Type="http://schemas.openxmlformats.org/officeDocument/2006/relationships/oleObject" Target="../embeddings/oleObject41.bin"/><Relationship Id="rId9" Type="http://schemas.openxmlformats.org/officeDocument/2006/relationships/oleObject" Target="../embeddings/oleObject4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2.bin"/><Relationship Id="rId4" Type="http://schemas.openxmlformats.org/officeDocument/2006/relationships/oleObject" Target="../embeddings/oleObject47.bin"/><Relationship Id="rId9" Type="http://schemas.openxmlformats.org/officeDocument/2006/relationships/oleObject" Target="../embeddings/oleObject5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8.bin"/><Relationship Id="rId4" Type="http://schemas.openxmlformats.org/officeDocument/2006/relationships/oleObject" Target="../embeddings/oleObject53.bin"/><Relationship Id="rId9" Type="http://schemas.openxmlformats.org/officeDocument/2006/relationships/oleObject" Target="../embeddings/oleObject5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6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69.bin"/><Relationship Id="rId4" Type="http://schemas.openxmlformats.org/officeDocument/2006/relationships/oleObject" Target="../embeddings/oleObject64.bin"/><Relationship Id="rId9" Type="http://schemas.openxmlformats.org/officeDocument/2006/relationships/oleObject" Target="../embeddings/oleObject6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75.bin"/><Relationship Id="rId4" Type="http://schemas.openxmlformats.org/officeDocument/2006/relationships/oleObject" Target="../embeddings/oleObject70.bin"/><Relationship Id="rId9" Type="http://schemas.openxmlformats.org/officeDocument/2006/relationships/oleObject" Target="../embeddings/oleObject7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7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1.bin"/><Relationship Id="rId4" Type="http://schemas.openxmlformats.org/officeDocument/2006/relationships/oleObject" Target="../embeddings/oleObject76.bin"/><Relationship Id="rId9" Type="http://schemas.openxmlformats.org/officeDocument/2006/relationships/oleObject" Target="../embeddings/oleObject8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8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7.bin"/><Relationship Id="rId4" Type="http://schemas.openxmlformats.org/officeDocument/2006/relationships/oleObject" Target="../embeddings/oleObject82.bin"/><Relationship Id="rId9" Type="http://schemas.openxmlformats.org/officeDocument/2006/relationships/oleObject" Target="../embeddings/oleObject8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9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93.bin"/><Relationship Id="rId4" Type="http://schemas.openxmlformats.org/officeDocument/2006/relationships/oleObject" Target="../embeddings/oleObject88.bin"/><Relationship Id="rId9" Type="http://schemas.openxmlformats.org/officeDocument/2006/relationships/oleObject" Target="../embeddings/oleObject9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1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5.bin"/><Relationship Id="rId4" Type="http://schemas.openxmlformats.org/officeDocument/2006/relationships/oleObject" Target="../embeddings/oleObject100.bin"/><Relationship Id="rId9" Type="http://schemas.openxmlformats.org/officeDocument/2006/relationships/oleObject" Target="../embeddings/oleObject10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1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1.bin"/><Relationship Id="rId4" Type="http://schemas.openxmlformats.org/officeDocument/2006/relationships/oleObject" Target="../embeddings/oleObject106.bin"/><Relationship Id="rId9" Type="http://schemas.openxmlformats.org/officeDocument/2006/relationships/oleObject" Target="../embeddings/oleObject110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1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7.bin"/><Relationship Id="rId4" Type="http://schemas.openxmlformats.org/officeDocument/2006/relationships/oleObject" Target="../embeddings/oleObject112.bin"/><Relationship Id="rId9" Type="http://schemas.openxmlformats.org/officeDocument/2006/relationships/oleObject" Target="../embeddings/oleObject11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5.bin"/><Relationship Id="rId9" Type="http://schemas.openxmlformats.org/officeDocument/2006/relationships/oleObject" Target="../embeddings/oleObject9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1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28.bin"/><Relationship Id="rId4" Type="http://schemas.openxmlformats.org/officeDocument/2006/relationships/oleObject" Target="../embeddings/oleObject123.bin"/><Relationship Id="rId9" Type="http://schemas.openxmlformats.org/officeDocument/2006/relationships/oleObject" Target="../embeddings/oleObject127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34.bin"/><Relationship Id="rId4" Type="http://schemas.openxmlformats.org/officeDocument/2006/relationships/oleObject" Target="../embeddings/oleObject129.bin"/><Relationship Id="rId9" Type="http://schemas.openxmlformats.org/officeDocument/2006/relationships/oleObject" Target="../embeddings/oleObject13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13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0.bin"/><Relationship Id="rId4" Type="http://schemas.openxmlformats.org/officeDocument/2006/relationships/oleObject" Target="../embeddings/oleObject135.bin"/><Relationship Id="rId9" Type="http://schemas.openxmlformats.org/officeDocument/2006/relationships/oleObject" Target="../embeddings/oleObject13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6.bin"/><Relationship Id="rId4" Type="http://schemas.openxmlformats.org/officeDocument/2006/relationships/oleObject" Target="../embeddings/oleObject141.bin"/><Relationship Id="rId9" Type="http://schemas.openxmlformats.org/officeDocument/2006/relationships/oleObject" Target="../embeddings/oleObject1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1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52.bin"/><Relationship Id="rId4" Type="http://schemas.openxmlformats.org/officeDocument/2006/relationships/oleObject" Target="../embeddings/oleObject147.bin"/><Relationship Id="rId9" Type="http://schemas.openxmlformats.org/officeDocument/2006/relationships/oleObject" Target="../embeddings/oleObject1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.bin"/><Relationship Id="rId4" Type="http://schemas.openxmlformats.org/officeDocument/2006/relationships/oleObject" Target="../embeddings/oleObject11.bin"/><Relationship Id="rId9" Type="http://schemas.openxmlformats.org/officeDocument/2006/relationships/oleObject" Target="../embeddings/oleObject1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1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4.bin"/><Relationship Id="rId4" Type="http://schemas.openxmlformats.org/officeDocument/2006/relationships/oleObject" Target="../embeddings/oleObject159.bin"/><Relationship Id="rId9" Type="http://schemas.openxmlformats.org/officeDocument/2006/relationships/oleObject" Target="../embeddings/oleObject16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1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0.bin"/><Relationship Id="rId4" Type="http://schemas.openxmlformats.org/officeDocument/2006/relationships/oleObject" Target="../embeddings/oleObject165.bin"/><Relationship Id="rId9" Type="http://schemas.openxmlformats.org/officeDocument/2006/relationships/oleObject" Target="../embeddings/oleObject169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7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6.bin"/><Relationship Id="rId4" Type="http://schemas.openxmlformats.org/officeDocument/2006/relationships/oleObject" Target="../embeddings/oleObject171.bin"/><Relationship Id="rId9" Type="http://schemas.openxmlformats.org/officeDocument/2006/relationships/oleObject" Target="../embeddings/oleObject17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5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87.bin"/><Relationship Id="rId4" Type="http://schemas.openxmlformats.org/officeDocument/2006/relationships/oleObject" Target="../embeddings/oleObject182.bin"/><Relationship Id="rId9" Type="http://schemas.openxmlformats.org/officeDocument/2006/relationships/oleObject" Target="../embeddings/oleObject18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0.bin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3.bin"/><Relationship Id="rId4" Type="http://schemas.openxmlformats.org/officeDocument/2006/relationships/oleObject" Target="../embeddings/oleObject188.bin"/><Relationship Id="rId9" Type="http://schemas.openxmlformats.org/officeDocument/2006/relationships/oleObject" Target="../embeddings/oleObject19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.bin"/><Relationship Id="rId4" Type="http://schemas.openxmlformats.org/officeDocument/2006/relationships/oleObject" Target="../embeddings/oleObject17.bin"/><Relationship Id="rId9" Type="http://schemas.openxmlformats.org/officeDocument/2006/relationships/oleObject" Target="../embeddings/oleObject21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6.bin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9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9.bin"/><Relationship Id="rId4" Type="http://schemas.openxmlformats.org/officeDocument/2006/relationships/oleObject" Target="../embeddings/oleObject194.bin"/><Relationship Id="rId9" Type="http://schemas.openxmlformats.org/officeDocument/2006/relationships/oleObject" Target="../embeddings/oleObject19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2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05.bin"/><Relationship Id="rId4" Type="http://schemas.openxmlformats.org/officeDocument/2006/relationships/oleObject" Target="../embeddings/oleObject200.bin"/><Relationship Id="rId9" Type="http://schemas.openxmlformats.org/officeDocument/2006/relationships/oleObject" Target="../embeddings/oleObject204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2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11.bin"/><Relationship Id="rId4" Type="http://schemas.openxmlformats.org/officeDocument/2006/relationships/oleObject" Target="../embeddings/oleObject206.bin"/><Relationship Id="rId9" Type="http://schemas.openxmlformats.org/officeDocument/2006/relationships/oleObject" Target="../embeddings/oleObject2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0.bin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2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3.bin"/><Relationship Id="rId4" Type="http://schemas.openxmlformats.org/officeDocument/2006/relationships/oleObject" Target="../embeddings/oleObject218.bin"/><Relationship Id="rId9" Type="http://schemas.openxmlformats.org/officeDocument/2006/relationships/oleObject" Target="../embeddings/oleObject22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.bin"/><Relationship Id="rId4" Type="http://schemas.openxmlformats.org/officeDocument/2006/relationships/oleObject" Target="../embeddings/oleObject23.bin"/><Relationship Id="rId9" Type="http://schemas.openxmlformats.org/officeDocument/2006/relationships/oleObject" Target="../embeddings/oleObject27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2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9.bin"/><Relationship Id="rId4" Type="http://schemas.openxmlformats.org/officeDocument/2006/relationships/oleObject" Target="../embeddings/oleObject224.bin"/><Relationship Id="rId9" Type="http://schemas.openxmlformats.org/officeDocument/2006/relationships/oleObject" Target="../embeddings/oleObject228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32.bin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23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35.bin"/><Relationship Id="rId4" Type="http://schemas.openxmlformats.org/officeDocument/2006/relationships/oleObject" Target="../embeddings/oleObject230.bin"/><Relationship Id="rId9" Type="http://schemas.openxmlformats.org/officeDocument/2006/relationships/oleObject" Target="../embeddings/oleObject23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0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4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2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46.bin"/><Relationship Id="rId4" Type="http://schemas.openxmlformats.org/officeDocument/2006/relationships/oleObject" Target="../embeddings/oleObject241.bin"/><Relationship Id="rId9" Type="http://schemas.openxmlformats.org/officeDocument/2006/relationships/oleObject" Target="../embeddings/oleObject245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9.bin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2.bin"/><Relationship Id="rId4" Type="http://schemas.openxmlformats.org/officeDocument/2006/relationships/oleObject" Target="../embeddings/oleObject247.bin"/><Relationship Id="rId9" Type="http://schemas.openxmlformats.org/officeDocument/2006/relationships/oleObject" Target="../embeddings/oleObject251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55.bin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2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8.bin"/><Relationship Id="rId4" Type="http://schemas.openxmlformats.org/officeDocument/2006/relationships/oleObject" Target="../embeddings/oleObject253.bin"/><Relationship Id="rId9" Type="http://schemas.openxmlformats.org/officeDocument/2006/relationships/oleObject" Target="../embeddings/oleObject257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2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64.bin"/><Relationship Id="rId4" Type="http://schemas.openxmlformats.org/officeDocument/2006/relationships/oleObject" Target="../embeddings/oleObject259.bin"/><Relationship Id="rId9" Type="http://schemas.openxmlformats.org/officeDocument/2006/relationships/oleObject" Target="../embeddings/oleObject26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.bin"/><Relationship Id="rId4" Type="http://schemas.openxmlformats.org/officeDocument/2006/relationships/oleObject" Target="../embeddings/oleObject29.bin"/><Relationship Id="rId9" Type="http://schemas.openxmlformats.org/officeDocument/2006/relationships/oleObject" Target="../embeddings/oleObject33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2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70.bin"/><Relationship Id="rId4" Type="http://schemas.openxmlformats.org/officeDocument/2006/relationships/oleObject" Target="../embeddings/oleObject265.bin"/><Relationship Id="rId9" Type="http://schemas.openxmlformats.org/officeDocument/2006/relationships/oleObject" Target="../embeddings/oleObject26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27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2.bin"/><Relationship Id="rId4" Type="http://schemas.openxmlformats.org/officeDocument/2006/relationships/oleObject" Target="../embeddings/oleObject277.bin"/><Relationship Id="rId9" Type="http://schemas.openxmlformats.org/officeDocument/2006/relationships/oleObject" Target="../embeddings/oleObject281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85.bin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28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8.bin"/><Relationship Id="rId4" Type="http://schemas.openxmlformats.org/officeDocument/2006/relationships/oleObject" Target="../embeddings/oleObject283.bin"/><Relationship Id="rId9" Type="http://schemas.openxmlformats.org/officeDocument/2006/relationships/oleObject" Target="../embeddings/oleObject287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91.bin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29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94.bin"/><Relationship Id="rId4" Type="http://schemas.openxmlformats.org/officeDocument/2006/relationships/oleObject" Target="../embeddings/oleObject289.bin"/><Relationship Id="rId9" Type="http://schemas.openxmlformats.org/officeDocument/2006/relationships/oleObject" Target="../embeddings/oleObject2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3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3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05.bin"/><Relationship Id="rId4" Type="http://schemas.openxmlformats.org/officeDocument/2006/relationships/oleObject" Target="../embeddings/oleObject300.bin"/><Relationship Id="rId9" Type="http://schemas.openxmlformats.org/officeDocument/2006/relationships/oleObject" Target="../embeddings/oleObject304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8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3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1.bin"/><Relationship Id="rId4" Type="http://schemas.openxmlformats.org/officeDocument/2006/relationships/oleObject" Target="../embeddings/oleObject306.bin"/><Relationship Id="rId9" Type="http://schemas.openxmlformats.org/officeDocument/2006/relationships/oleObject" Target="../embeddings/oleObject310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3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7.bin"/><Relationship Id="rId4" Type="http://schemas.openxmlformats.org/officeDocument/2006/relationships/oleObject" Target="../embeddings/oleObject312.bin"/><Relationship Id="rId9" Type="http://schemas.openxmlformats.org/officeDocument/2006/relationships/oleObject" Target="../embeddings/oleObject316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0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3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3.bin"/><Relationship Id="rId4" Type="http://schemas.openxmlformats.org/officeDocument/2006/relationships/oleObject" Target="../embeddings/oleObject318.bin"/><Relationship Id="rId9" Type="http://schemas.openxmlformats.org/officeDocument/2006/relationships/oleObject" Target="../embeddings/oleObject322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7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6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3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9.bin"/><Relationship Id="rId4" Type="http://schemas.openxmlformats.org/officeDocument/2006/relationships/oleObject" Target="../embeddings/oleObject324.bin"/><Relationship Id="rId9" Type="http://schemas.openxmlformats.org/officeDocument/2006/relationships/oleObject" Target="../embeddings/oleObject32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03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77996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98702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6547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195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0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0425759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04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9888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2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30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9226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59419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71917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4668286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97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467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88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9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58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31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896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0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9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89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37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9239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6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3888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42451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877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429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152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274969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8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2880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3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04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7245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082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048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07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456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5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52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0462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35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06294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26624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85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0420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7048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132260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55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95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8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7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5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2595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552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8511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05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3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2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190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1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664533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86063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17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9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3090043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362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0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061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03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16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98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05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6115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268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284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7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0589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54023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30100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207313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28191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9586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825598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24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65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87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7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64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6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46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85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12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938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6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8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97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05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60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9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11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58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17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77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23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9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29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81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1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23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3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8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7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405133" y="1575521"/>
            <a:ext cx="5605591" cy="2215991"/>
          </a:xfrm>
        </p:spPr>
        <p:txBody>
          <a:bodyPr/>
          <a:lstStyle/>
          <a:p>
            <a:r>
              <a:rPr lang="hu-HU" sz="4000" dirty="0" smtClean="0"/>
              <a:t>Költséghatékonyság a vendéglátásban</a:t>
            </a:r>
            <a:br>
              <a:rPr lang="hu-HU" sz="4000" dirty="0" smtClean="0"/>
            </a:br>
            <a:r>
              <a:rPr lang="hu-HU" sz="4000" dirty="0" smtClean="0"/>
              <a:t/>
            </a:r>
            <a:br>
              <a:rPr lang="hu-HU" sz="4000" dirty="0" smtClean="0"/>
            </a:br>
            <a:endParaRPr lang="en-GB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8" y="3177"/>
            <a:ext cx="3267924" cy="68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42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31217" y="1649690"/>
            <a:ext cx="7107810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26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2600" dirty="0" smtClean="0">
                <a:latin typeface="DINPro-Regular" panose="02000503030000020004" pitchFamily="2" charset="0"/>
              </a:rPr>
              <a:t>KÖSZÖNÖM A FIGYELMET!</a:t>
            </a:r>
            <a:endParaRPr lang="en-GB" sz="2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240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lyen költségekkel számolunk a vendéglátásban?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3305370" y="1224168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FOODCOST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ÁR-ÉRTÉK AR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8573" y="2538952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RAKTÁROZ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KÉSZENTARTÁSI VESZTESÉG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8573" y="4037239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ÉLŐMUNKA 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UNKAERŐ HI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75034" y="4068088"/>
            <a:ext cx="292729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>
                <a:latin typeface="DINPro-Regular" panose="02000503030000020004" pitchFamily="2" charset="0"/>
              </a:rPr>
              <a:t>ENERGIA </a:t>
            </a:r>
            <a:r>
              <a:rPr lang="hu-HU" sz="1600" dirty="0" smtClean="0">
                <a:latin typeface="DINPro-Regular" panose="02000503030000020004" pitchFamily="2" charset="0"/>
              </a:rPr>
              <a:t>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AGAS REZSI KÖLTSÉGEK)</a:t>
            </a:r>
            <a:endParaRPr lang="en-GB" sz="1600" dirty="0" err="1">
              <a:latin typeface="DINPro-Regular" panose="02000503030000020004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75034" y="2537381"/>
            <a:ext cx="2936990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HULLADÉK ELSZÁLLÍT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VESZÉLYES HULLADÉK…)</a:t>
            </a: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054" y="2537381"/>
            <a:ext cx="1286294" cy="20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305371" y="5218023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INFRASTUKTÚRA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ELAVULT GÉPEK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0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fér bele a </a:t>
            </a:r>
            <a:r>
              <a:rPr lang="hu-HU" dirty="0" err="1" smtClean="0"/>
              <a:t>food</a:t>
            </a:r>
            <a:r>
              <a:rPr lang="hu-HU" dirty="0" smtClean="0"/>
              <a:t> </a:t>
            </a:r>
            <a:r>
              <a:rPr lang="hu-HU" dirty="0" err="1" smtClean="0"/>
              <a:t>cost-ba</a:t>
            </a:r>
            <a:r>
              <a:rPr lang="hu-HU" dirty="0" smtClean="0"/>
              <a:t>? Érvek és ellenérvek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951720" y="1023117"/>
            <a:ext cx="2769663" cy="1558779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Ilyen drága?? …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incs szükségem ilyen termékekr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Túl drága, nem fér bel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A felettesem nem engedi használni. Egyébként sincs időm ilyenekkel foglalkozni</a:t>
            </a:r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.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0090" y="1023117"/>
            <a:ext cx="4173055" cy="1558779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Vegyünk egy példát:</a:t>
            </a:r>
          </a:p>
          <a:p>
            <a:pPr algn="ctr"/>
            <a:endParaRPr lang="hu-HU" sz="1600" dirty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norr Barnamártás alap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83" y="186143"/>
            <a:ext cx="1286294" cy="22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R:\Food_2\BF\Catering\termekfotok\Darwin szoszok\Barna_Matras_1101710_H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596" y="2593942"/>
            <a:ext cx="1648360" cy="2223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207709"/>
              </p:ext>
            </p:extLst>
          </p:nvPr>
        </p:nvGraphicFramePr>
        <p:xfrm>
          <a:off x="380090" y="2726179"/>
          <a:ext cx="542682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3411"/>
                <a:gridCol w="2713411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hu-HU" dirty="0" smtClean="0"/>
                        <a:t>Knorr Barnamártás alap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Listaár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7530 Ft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Kiszerelé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2 kg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Szavatossági idő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18 hónap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4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710399" y="613200"/>
            <a:ext cx="8298663" cy="36933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Tx/>
              <a:buNone/>
              <a:defRPr sz="2400" b="1" i="0" kern="1200">
                <a:solidFill>
                  <a:schemeClr val="accent1"/>
                </a:solidFill>
                <a:latin typeface="+mj-lt"/>
                <a:ea typeface="+mn-ea"/>
                <a:cs typeface="DINPro-Light"/>
                <a:sym typeface="DINPro-Regular" panose="02000503030000020004" pitchFamily="2" charset="0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mtClean="0"/>
              <a:t>Mi fér bele a food cost-ba? Érvek és ellenérvek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648731"/>
              </p:ext>
            </p:extLst>
          </p:nvPr>
        </p:nvGraphicFramePr>
        <p:xfrm>
          <a:off x="0" y="1076489"/>
          <a:ext cx="4468305" cy="3993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87524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latin typeface="Calibri"/>
                        </a:rPr>
                        <a:t>hagyományosan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sí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v.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orjú cso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öldségek (répa, gyökér, zeller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,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is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Fokhagym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ombaszá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Vörösb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örös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,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uk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aradicsompür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2,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ó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ors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babérlevél, kakukkfű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,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10 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2960,6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773,6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77,3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673679"/>
              </p:ext>
            </p:extLst>
          </p:nvPr>
        </p:nvGraphicFramePr>
        <p:xfrm>
          <a:off x="4540757" y="3453929"/>
          <a:ext cx="4468305" cy="1616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87524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Knorr 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pa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KNORR Barna mártás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la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0 adag (1</a:t>
                      </a:r>
                      <a:r>
                        <a:rPr lang="hu-HU" sz="1200" b="1" i="0" u="none" strike="noStrike" baseline="0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dl/adag)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100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(</a:t>
                      </a:r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l/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00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4,41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57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3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5163967"/>
            <a:ext cx="9144000" cy="1694033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LYEN EGYÉB KÖLTSÉGEKKEL NEM SZÁMOLTUNK MÉG?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UNKAIDŐ ( 8-16 ÓRA VS. 1 ÓRA /AKÁR 10 PERC/ )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REZSI KÖLTSÉGEK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FRISS ALAPANYAGOK RAKTÁROZÁSI KÖLTSÉGE / HŰTŐ KAPACITÁS &gt; AKÁR 1 ADAG IS </a:t>
            </a:r>
            <a:r>
              <a:rPr lang="hu-HU" sz="1400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ELKÉSZíTHETŐ</a:t>
            </a:r>
            <a:endParaRPr lang="hu-HU" sz="1400" dirty="0" smtClean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… ÉS A LEGFONTOSABB: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NDEN SZAKÁCSOM ELÉG KÉPZETT AHHOZ, HOGY MINDIG A TÖKÉLETES VÉGEREDMÉNYT </a:t>
            </a:r>
            <a:r>
              <a:rPr lang="hu-HU" sz="1400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BIZTOSíTSA</a:t>
            </a: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??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NŐSÉGI ÁLLANDÓSÁG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965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710399" y="613200"/>
            <a:ext cx="8298663" cy="36933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Tx/>
              <a:buNone/>
              <a:defRPr sz="2400" b="1" i="0" kern="1200">
                <a:solidFill>
                  <a:schemeClr val="accent1"/>
                </a:solidFill>
                <a:latin typeface="+mj-lt"/>
                <a:ea typeface="+mn-ea"/>
                <a:cs typeface="DINPro-Light"/>
                <a:sym typeface="DINPro-Regular" panose="02000503030000020004" pitchFamily="2" charset="0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smtClean="0">
                <a:solidFill>
                  <a:srgbClr val="E45212"/>
                </a:solidFill>
              </a:rPr>
              <a:t>Ha már állandó, megfelelő </a:t>
            </a:r>
            <a:r>
              <a:rPr lang="hu-HU" dirty="0" err="1" smtClean="0">
                <a:solidFill>
                  <a:srgbClr val="E45212"/>
                </a:solidFill>
              </a:rPr>
              <a:t>ízvilág</a:t>
            </a:r>
            <a:r>
              <a:rPr lang="hu-HU" dirty="0" smtClean="0">
                <a:solidFill>
                  <a:srgbClr val="E45212"/>
                </a:solidFill>
              </a:rPr>
              <a:t>..</a:t>
            </a:r>
          </a:p>
          <a:p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163967"/>
            <a:ext cx="9144000" cy="1694033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LYEN KÖRÜLMÉNYEK BEFOLYÁSOLJÁK A KÉSZÉTEL ÍZÉT?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Szakértelem 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Friss alapanyagok minősége és mennyisége (mirelit, </a:t>
            </a:r>
            <a:r>
              <a:rPr lang="hu-HU" sz="1400" b="1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food</a:t>
            </a: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 </a:t>
            </a:r>
            <a:r>
              <a:rPr lang="hu-HU" sz="1400" b="1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cost</a:t>
            </a: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, elvárt haszonkulcs miatt kevesebb hús…)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327618"/>
              </p:ext>
            </p:extLst>
          </p:nvPr>
        </p:nvGraphicFramePr>
        <p:xfrm>
          <a:off x="371034" y="713024"/>
          <a:ext cx="4311190" cy="358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174"/>
                <a:gridCol w="874808"/>
                <a:gridCol w="1112991"/>
                <a:gridCol w="482023"/>
                <a:gridCol w="490194"/>
              </a:tblGrid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MARHAHÚSLEVES hagyományosa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Bruttó mennyiség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hú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3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2,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sárgarép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etrezselyem gyöké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elle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karalábé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lkáposz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örös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,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ok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aradicsompür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7,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ó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ors,egés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,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10 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3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562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2003,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(3 dl/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,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%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%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595694"/>
              </p:ext>
            </p:extLst>
          </p:nvPr>
        </p:nvGraphicFramePr>
        <p:xfrm>
          <a:off x="4859730" y="727222"/>
          <a:ext cx="4311190" cy="3295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1070"/>
                <a:gridCol w="684912"/>
                <a:gridCol w="1112991"/>
                <a:gridCol w="530518"/>
                <a:gridCol w="441699"/>
              </a:tblGrid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KNORR MARHAHÚSLEVES ALAPP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Bruttó mennyiség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úso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5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árgarép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etrezselyem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gyöké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zell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araláb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lkáposz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NORR Marhahúsleves ala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3300"/>
                          </a:solidFill>
                          <a:latin typeface="Calibri"/>
                        </a:rPr>
                        <a:t>10 adag (3 dl/ada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3300"/>
                          </a:solidFill>
                          <a:latin typeface="Calibri"/>
                        </a:rPr>
                        <a:t>50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7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(3 dl/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300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36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64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332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Desszertek hatékonysága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4951720" y="1023117"/>
            <a:ext cx="2769663" cy="1558779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ülsős helyről rendeljük a desszerteket… nincs időnk foglalkozni vel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incs cukrászunk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6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83" y="186143"/>
            <a:ext cx="1286294" cy="22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1720" y="2606247"/>
            <a:ext cx="2769663" cy="257105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93829" y="1047469"/>
            <a:ext cx="3533234" cy="1534428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Biztos, hogy jobban megéri külsős helyről beszerezni?</a:t>
            </a:r>
          </a:p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ézzük a számokat: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59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egfelelő infrastruktúra áll rendelkezésre?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87517" y="1405167"/>
            <a:ext cx="4934932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b="1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z Unilever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d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s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partnerek konyhai eszközeinek fejlesztését aktívan támogatja gépekkel, berendezésekkel, konyhai eszközökkel, hozzájárulva ezzel sikeres működésükhöz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uházások többnyire jelentős költségmegtakarítást hoznak, melyek akár a működési költségének csökkenését is eredményezhetik.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zámos partnerünknél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került haszonkölcsön szerződést kötnünk. Ennek keretein belül különböző nagykonyhai gépesítés valósult meg olyan konyhákon ahol önerőből ezt nem tudták volna megvalósítani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hu-HU" sz="16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ermelő eszközt előre megkapnak a cégek ahhoz, hogy profitot termeljenek. &gt; előzetes beruházást nem igényel</a:t>
            </a:r>
            <a:endParaRPr lang="en-GB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61434" y="2828041"/>
            <a:ext cx="3082566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14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latin typeface="DINPro-Regular" panose="02000503030000020004" pitchFamily="2" charset="0"/>
              </a:rPr>
              <a:t>Közel 200 nagykonyhán valósult már meg sikeres gépesítés</a:t>
            </a:r>
            <a:endParaRPr lang="en-GB" sz="1400" dirty="0" err="1" smtClean="0">
              <a:latin typeface="DINPro-Regular" panose="0200050303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1434" y="932357"/>
            <a:ext cx="3101419" cy="1895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957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a leggyakoribb eszköz, amit a cégek választanak?</a:t>
            </a:r>
            <a:endParaRPr lang="en-GB" dirty="0"/>
          </a:p>
        </p:txBody>
      </p:sp>
      <p:pic>
        <p:nvPicPr>
          <p:cNvPr id="6" name="Picture 8" descr="SCC 20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1" y="732553"/>
            <a:ext cx="1526556" cy="226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693" y="952107"/>
            <a:ext cx="3695307" cy="30659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692" y="4018016"/>
            <a:ext cx="3695307" cy="205954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83" y="2896212"/>
            <a:ext cx="5243908" cy="3896907"/>
          </a:xfrm>
          <a:prstGeom prst="rect">
            <a:avLst/>
          </a:prstGeom>
        </p:spPr>
      </p:pic>
      <p:pic>
        <p:nvPicPr>
          <p:cNvPr id="11" name="Picture 6" descr="Rama Combi Profi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846" y="878226"/>
            <a:ext cx="1154112" cy="196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901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7999" y="224118"/>
            <a:ext cx="8298663" cy="606014"/>
          </a:xfrm>
        </p:spPr>
        <p:txBody>
          <a:bodyPr>
            <a:noAutofit/>
          </a:bodyPr>
          <a:lstStyle/>
          <a:p>
            <a:r>
              <a:rPr lang="hu-HU" sz="3200" dirty="0" smtClean="0"/>
              <a:t>Rama Combi Profi – Megéri?</a:t>
            </a:r>
            <a:endParaRPr lang="en-GB" sz="3200" dirty="0"/>
          </a:p>
        </p:txBody>
      </p:sp>
      <p:sp>
        <p:nvSpPr>
          <p:cNvPr id="15" name="Rectangle 14"/>
          <p:cNvSpPr/>
          <p:nvPr/>
        </p:nvSpPr>
        <p:spPr>
          <a:xfrm>
            <a:off x="557999" y="1010679"/>
            <a:ext cx="960836" cy="75408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hu-HU" sz="12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alkulátor</a:t>
            </a:r>
            <a:endParaRPr lang="en-GB" sz="12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999" y="1764760"/>
            <a:ext cx="8010966" cy="434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0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2.xml><?xml version="1.0" encoding="utf-8"?>
<a:theme xmlns:a="http://schemas.openxmlformats.org/drawingml/2006/main" name="6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3.xml><?xml version="1.0" encoding="utf-8"?>
<a:theme xmlns:a="http://schemas.openxmlformats.org/drawingml/2006/main" name="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4.xml><?xml version="1.0" encoding="utf-8"?>
<a:theme xmlns:a="http://schemas.openxmlformats.org/drawingml/2006/main" name="2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5.xml><?xml version="1.0" encoding="utf-8"?>
<a:theme xmlns:a="http://schemas.openxmlformats.org/drawingml/2006/main" name="3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6.xml><?xml version="1.0" encoding="utf-8"?>
<a:theme xmlns:a="http://schemas.openxmlformats.org/drawingml/2006/main" name="5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F00693CD-8415-4022-ACD2-762C1198F9E8}" vid="{D3745070-9F3C-49F3-9AF3-45E98CFD2329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MS339 ">
      <a:srgbClr val="00B388"/>
    </a:custClr>
    <a:custClr name="PMS326">
      <a:srgbClr val="00B2A9"/>
    </a:custClr>
    <a:custClr name="PMS3288">
      <a:srgbClr val="008264"/>
    </a:custClr>
    <a:custClr name="PMS7467">
      <a:srgbClr val="00A3AD"/>
    </a:custClr>
    <a:custClr name="PMS328">
      <a:srgbClr val="007367"/>
    </a:custClr>
    <a:custClr name="PMS7737">
      <a:srgbClr val="6BA539"/>
    </a:custClr>
    <a:custClr name="PMS368">
      <a:srgbClr val="78BE20"/>
    </a:custClr>
    <a:custClr name="PMS7484">
      <a:srgbClr val="00573F"/>
    </a:custClr>
    <a:custClr name="PMS7741">
      <a:srgbClr val="44883E"/>
    </a:custClr>
    <a:custClr name="PMS376">
      <a:srgbClr val="84BD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80</TotalTime>
  <Words>571</Words>
  <Application>Microsoft Office PowerPoint</Application>
  <PresentationFormat>Diavetítés a képernyőre (4:3 oldalarány)</PresentationFormat>
  <Paragraphs>219</Paragraphs>
  <Slides>10</Slides>
  <Notes>2</Notes>
  <HiddenSlides>1</HiddenSlides>
  <MMClips>0</MMClips>
  <ScaleCrop>false</ScaleCrop>
  <HeadingPairs>
    <vt:vector size="6" baseType="variant">
      <vt:variant>
        <vt:lpstr>Téma</vt:lpstr>
      </vt:variant>
      <vt:variant>
        <vt:i4>6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0</vt:i4>
      </vt:variant>
    </vt:vector>
  </HeadingPairs>
  <TitlesOfParts>
    <vt:vector size="17" baseType="lpstr">
      <vt:lpstr>1_UFS Template</vt:lpstr>
      <vt:lpstr>6_UFS Template</vt:lpstr>
      <vt:lpstr>UFS Template</vt:lpstr>
      <vt:lpstr>2_UFS Template</vt:lpstr>
      <vt:lpstr>3_UFS Template</vt:lpstr>
      <vt:lpstr>5_UFS Template</vt:lpstr>
      <vt:lpstr>think-cell Slide</vt:lpstr>
      <vt:lpstr>Költséghatékonyság a vendéglátásban  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hony Batt</dc:creator>
  <cp:lastModifiedBy>DELL</cp:lastModifiedBy>
  <cp:revision>522</cp:revision>
  <dcterms:created xsi:type="dcterms:W3CDTF">2014-11-26T19:52:49Z</dcterms:created>
  <dcterms:modified xsi:type="dcterms:W3CDTF">2016-10-04T13:32:43Z</dcterms:modified>
</cp:coreProperties>
</file>